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sldIdLst>
    <p:sldId id="378" r:id="rId3"/>
    <p:sldId id="387" r:id="rId4"/>
    <p:sldId id="383" r:id="rId5"/>
    <p:sldId id="390" r:id="rId6"/>
    <p:sldId id="382" r:id="rId7"/>
    <p:sldId id="385" r:id="rId8"/>
    <p:sldId id="386" r:id="rId9"/>
    <p:sldId id="384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101" y="11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9534D-5962-4E0B-BD28-757777B394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5FA194-FF62-4B44-AEDB-10E440EE92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B019A-C248-4835-A2B5-16799E754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D8FC0A-8015-45F6-9F34-D4384064A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D2878D-4E07-49B1-9946-70568C47D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880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65EE92-45CE-4176-98B3-50406764B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24C7BC8-3EF3-43A4-9B68-EBF520806E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A0E700-D4F5-4CFE-ADFA-92DC429424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2B0948-1AE2-48D0-9127-4475D1A25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A46E20-E12D-46CB-8EF3-12C44276B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9356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0593F8-7717-4F56-8878-2896ABDE9DC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13483C-8165-47F6-854F-CD733C1007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EC1D63-3266-422D-9FBA-908DFB42D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B15FC0-E59E-4343-A8C0-384DEA751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F0B76-4362-4AAE-B182-54C2986891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4326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38642" y="887543"/>
            <a:ext cx="2887003" cy="1648322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22339F3-B760-4E47-A628-786BF9E1ADEA}"/>
              </a:ext>
            </a:extLst>
          </p:cNvPr>
          <p:cNvSpPr txBox="1"/>
          <p:nvPr userDrawn="1"/>
        </p:nvSpPr>
        <p:spPr>
          <a:xfrm>
            <a:off x="3709356" y="1397036"/>
            <a:ext cx="2887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2D8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ORGIA</a:t>
            </a:r>
          </a:p>
        </p:txBody>
      </p:sp>
      <p:pic>
        <p:nvPicPr>
          <p:cNvPr id="119882" name="Picture 74" descr="Image result for georgia">
            <a:extLst>
              <a:ext uri="{FF2B5EF4-FFF2-40B4-BE49-F238E27FC236}">
                <a16:creationId xmlns:a16="http://schemas.microsoft.com/office/drawing/2014/main" id="{CECB2DED-EFE2-46BF-956B-817C60F9BC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358" y="1536970"/>
            <a:ext cx="634192" cy="422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1CD51A-9393-4EFB-AE28-91289D53C5CA}"/>
              </a:ext>
            </a:extLst>
          </p:cNvPr>
          <p:cNvCxnSpPr/>
          <p:nvPr userDrawn="1"/>
        </p:nvCxnSpPr>
        <p:spPr>
          <a:xfrm>
            <a:off x="3709356" y="1128409"/>
            <a:ext cx="0" cy="1245140"/>
          </a:xfrm>
          <a:prstGeom prst="line">
            <a:avLst/>
          </a:prstGeom>
          <a:ln w="50800">
            <a:solidFill>
              <a:srgbClr val="002D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3010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38642" y="887543"/>
            <a:ext cx="2887003" cy="1648322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22339F3-B760-4E47-A628-786BF9E1ADEA}"/>
              </a:ext>
            </a:extLst>
          </p:cNvPr>
          <p:cNvSpPr txBox="1"/>
          <p:nvPr userDrawn="1"/>
        </p:nvSpPr>
        <p:spPr>
          <a:xfrm>
            <a:off x="3709356" y="1397036"/>
            <a:ext cx="2887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2D8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ORGIA</a:t>
            </a:r>
          </a:p>
        </p:txBody>
      </p:sp>
      <p:pic>
        <p:nvPicPr>
          <p:cNvPr id="119882" name="Picture 74" descr="Image result for georgia">
            <a:extLst>
              <a:ext uri="{FF2B5EF4-FFF2-40B4-BE49-F238E27FC236}">
                <a16:creationId xmlns:a16="http://schemas.microsoft.com/office/drawing/2014/main" id="{CECB2DED-EFE2-46BF-956B-817C60F9BC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358" y="1536970"/>
            <a:ext cx="634192" cy="422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1CD51A-9393-4EFB-AE28-91289D53C5CA}"/>
              </a:ext>
            </a:extLst>
          </p:cNvPr>
          <p:cNvCxnSpPr/>
          <p:nvPr userDrawn="1"/>
        </p:nvCxnSpPr>
        <p:spPr>
          <a:xfrm>
            <a:off x="3709356" y="1128409"/>
            <a:ext cx="0" cy="1245140"/>
          </a:xfrm>
          <a:prstGeom prst="line">
            <a:avLst/>
          </a:prstGeom>
          <a:ln w="50800">
            <a:solidFill>
              <a:srgbClr val="002D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25476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59686EA-00E7-4405-B530-E4147CD57BB0}"/>
              </a:ext>
            </a:extLst>
          </p:cNvPr>
          <p:cNvSpPr/>
          <p:nvPr userDrawn="1"/>
        </p:nvSpPr>
        <p:spPr>
          <a:xfrm>
            <a:off x="10568198" y="88142"/>
            <a:ext cx="1509165" cy="10568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87842D-1305-41C4-9089-A482C85EDC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15518" y="143561"/>
            <a:ext cx="937650" cy="946041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21C748-F12B-4322-A67B-36654E19A4E6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F90156C6-5594-467C-BFDB-015E78828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A90240A-8F90-480B-A055-20BD523D7C13}"/>
              </a:ext>
            </a:extLst>
          </p:cNvPr>
          <p:cNvSpPr/>
          <p:nvPr userDrawn="1"/>
        </p:nvSpPr>
        <p:spPr>
          <a:xfrm>
            <a:off x="0" y="6419782"/>
            <a:ext cx="1219200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32581F8D-E8AA-4D72-880B-BC751196B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AEABF273-4E4A-40DD-89AF-7D06CD7FCF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0970215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FA0033-C33F-494D-9715-6C15708BF6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402" y="1016421"/>
            <a:ext cx="11611396" cy="5194216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6E24EF-C5E2-44D7-8DDC-B4ADFDDD85ED}"/>
              </a:ext>
            </a:extLst>
          </p:cNvPr>
          <p:cNvCxnSpPr/>
          <p:nvPr userDrawn="1"/>
        </p:nvCxnSpPr>
        <p:spPr>
          <a:xfrm>
            <a:off x="304842" y="868334"/>
            <a:ext cx="1161288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54378BEC-9255-483E-BE1B-7AFEA0E79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58E4E9-3C09-4C4F-912A-54A48F61CEA7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E0350BA-00CA-4CB7-8452-EF48B4122B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01AF4B6-FC02-4616-BA56-B08C12019E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38334" y="6489812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03383A9-8350-4850-B6B6-C8B01C4178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3FF5F43-16B7-40A3-8557-43AEB600D9F7}"/>
              </a:ext>
            </a:extLst>
          </p:cNvPr>
          <p:cNvCxnSpPr>
            <a:cxnSpLocks/>
          </p:cNvCxnSpPr>
          <p:nvPr userDrawn="1"/>
        </p:nvCxnSpPr>
        <p:spPr>
          <a:xfrm>
            <a:off x="10587038" y="6429307"/>
            <a:ext cx="1604962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40821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035DA-F35A-4FE2-9C9B-7E02901B3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377966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D0A310-CED6-40CA-84EB-8D2F017396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57691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7C21E9D7-45CB-44A2-AA65-4BE8553A2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7600F29-49B9-4010-9EC9-DD542CF608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77B685-94BF-47A9-A431-C52B60241F86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089F11-05F9-425A-99B0-CECDE6F7F5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805DB10-1D7F-4011-B0C2-919764439C02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9399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C73331-5F32-4DFC-8136-E0000F3F1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8402" y="1085203"/>
            <a:ext cx="5530232" cy="5091759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6F265AE-AE96-4C2B-9909-B93AC095F171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254469" y="1085203"/>
            <a:ext cx="5530232" cy="5091759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9C212C7-F5BE-4800-9A4B-6AF1AA52BBAA}"/>
              </a:ext>
            </a:extLst>
          </p:cNvPr>
          <p:cNvCxnSpPr/>
          <p:nvPr userDrawn="1"/>
        </p:nvCxnSpPr>
        <p:spPr>
          <a:xfrm>
            <a:off x="304842" y="868334"/>
            <a:ext cx="1161288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CFDC853-49E6-4236-AA4F-9D6E45166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CBE5A537-B224-44B8-8640-40BA6A0AE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720D045E-E445-454C-A80D-8FE6F7B67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941394-BC47-441A-BF32-BD7B30A81218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6DFBCD3-A7D8-49FD-AA37-09A5AFD8DF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CBA7AD-D609-47FB-B783-AED5F62B1F66}"/>
              </a:ext>
            </a:extLst>
          </p:cNvPr>
          <p:cNvCxnSpPr>
            <a:cxnSpLocks/>
          </p:cNvCxnSpPr>
          <p:nvPr userDrawn="1"/>
        </p:nvCxnSpPr>
        <p:spPr>
          <a:xfrm>
            <a:off x="10439400" y="6429307"/>
            <a:ext cx="175260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84819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4D3A68-5EDD-48C3-84CA-46AF319A20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8402" y="1100969"/>
            <a:ext cx="570825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07E52D-0AB8-45B3-BC62-A84409E237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8401" y="2019553"/>
            <a:ext cx="570825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798F8B7E-C354-4ADA-A16B-04DE69EF5AB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55344" y="2019553"/>
            <a:ext cx="570825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3DCB29-5FAA-4D96-BA4D-7F8BDEB754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55342" y="1100969"/>
            <a:ext cx="570825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694C6FD-110B-49EF-870D-A4A90EC73CF3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3F0F1408-716F-4D6C-9736-676B3890F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83B74065-FEC7-429D-A4A2-A2E648577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2E3EFFE-3D6F-4233-92FC-7E12DE4372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0D3490-C6A9-44CE-A3BF-EB6A0B5885DF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2E10D6-A5DC-4179-95C3-57E815A84F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BFED6AD-CA36-4E24-BE44-931F3876CA2D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45524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06C22BF-6776-4BD0-BB3E-E7FC29276716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4CC6B1AA-A3C4-414F-BA5C-829F3AD2A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65E324F-6F2E-40F2-9BCB-DA93754F7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2C92E0C-8276-40D2-838C-CB1D28D53B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785A8C-0B9F-466E-928D-60E56CF43F84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F661F07-6D82-4F1A-9FD2-636517956E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867470-2810-4C91-BDAB-85ACBA887BB4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7572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B6E2AA-0977-40D3-9D38-6136472D5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62DE41-E541-4616-9252-31517B9B36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01106B-07CA-414B-8433-9C1456DD50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B7483-8336-4234-9660-7C31C9139C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9633D9-516D-4CD1-B2F5-AE4120E35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4886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D4F21-2158-4CC0-9A36-7A09064B3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03" y="1012516"/>
            <a:ext cx="4769580" cy="1600200"/>
          </a:xfrm>
          <a:prstGeom prst="rect">
            <a:avLst/>
          </a:prstGeom>
        </p:spPr>
        <p:txBody>
          <a:bodyPr anchor="b"/>
          <a:lstStyle>
            <a:lvl1pPr>
              <a:defRPr sz="3200"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2C1F23-5A7F-4FAA-8806-5311EBD5A0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012515"/>
            <a:ext cx="6594770" cy="5026405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ndara" panose="020E0502030303020204" pitchFamily="34" charset="0"/>
              </a:defRPr>
            </a:lvl1pPr>
            <a:lvl2pPr>
              <a:defRPr sz="2800">
                <a:latin typeface="Candara" panose="020E0502030303020204" pitchFamily="34" charset="0"/>
              </a:defRPr>
            </a:lvl2pPr>
            <a:lvl3pPr>
              <a:defRPr sz="2400">
                <a:latin typeface="Candara" panose="020E0502030303020204" pitchFamily="34" charset="0"/>
              </a:defRPr>
            </a:lvl3pPr>
            <a:lvl4pPr>
              <a:defRPr sz="2000">
                <a:latin typeface="Candara" panose="020E0502030303020204" pitchFamily="34" charset="0"/>
              </a:defRPr>
            </a:lvl4pPr>
            <a:lvl5pPr>
              <a:defRPr sz="2000">
                <a:latin typeface="Candara" panose="020E05020303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C826E1-D6C6-4569-AA84-D030FFAC75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28400" y="2722970"/>
            <a:ext cx="4769579" cy="3315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Candara" panose="020E05020303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352B2DD-D663-437E-AA47-1354BBA5088A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A1E2D80D-CA80-4B46-AB39-713FC0C91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DBE067F-6D69-4F15-8359-6345FBA7B5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85834B-8ABB-407B-823E-A210547CF5D4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CEC08FA-BD8F-4443-8223-2055E04204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858BCFC-00DB-423F-8555-9C5D3EF5D831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85343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C3283F-9CA9-4A47-B052-9801AC9F1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28402" y="1158032"/>
            <a:ext cx="11396957" cy="435133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11A7DCC-B389-40BD-97CE-2436854CC110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405FCB13-79A2-49F6-92B1-7033EC239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A54139FA-7627-4796-85A7-6D973203F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535FA56-D5B7-42CF-A74D-56743ECB9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201774-A35A-419C-890E-330338AD379F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8546508-2530-4FC0-A574-F1F9BF33E8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E3536BA-0614-4FEA-9D1E-A693620C5786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1030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FD47D57-9518-4E89-B237-CAA9926571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002388" y="1173345"/>
            <a:ext cx="2779615" cy="500361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2B4DD4-7A87-4E2E-B6CC-CE6CE55710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28401" y="1173345"/>
            <a:ext cx="8479779" cy="500361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5390C97-6A9C-4447-8D0D-804F6D2DD03D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793FF55-BF13-4AF5-B6BE-DF80D2D22008}"/>
              </a:ext>
            </a:extLst>
          </p:cNvPr>
          <p:cNvSpPr txBox="1">
            <a:spLocks/>
          </p:cNvSpPr>
          <p:nvPr userDrawn="1"/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BEE581F-F00C-4112-B152-0D5F8F806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922DC69-3D8E-40AF-8007-9E6DF8C5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8F79EC-76ED-4326-82DC-39D004938CE7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98EF35D-1155-4894-B03B-91AA8C0541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0B5164A-1901-4076-AF08-EFB0CE58421F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05525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EC80AFA7-484E-4446-ABDD-06D2FF63B0D5}"/>
              </a:ext>
            </a:extLst>
          </p:cNvPr>
          <p:cNvGrpSpPr/>
          <p:nvPr userDrawn="1"/>
        </p:nvGrpSpPr>
        <p:grpSpPr>
          <a:xfrm>
            <a:off x="3772023" y="1993605"/>
            <a:ext cx="4647955" cy="1801790"/>
            <a:chOff x="3209410" y="2023010"/>
            <a:chExt cx="4647955" cy="174048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FA8AB7B-794A-433A-BA27-A7344077B6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209410" y="2023010"/>
              <a:ext cx="3048430" cy="174048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9B23763-F8C2-4E09-8AD7-E5B964D683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6412066" y="2207459"/>
              <a:ext cx="1445299" cy="1458234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443602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71785" y="2012426"/>
            <a:ext cx="3048430" cy="180179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28910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DC18C3F-75FD-46F0-A037-5DFC3BE8D887}"/>
              </a:ext>
            </a:extLst>
          </p:cNvPr>
          <p:cNvGrpSpPr/>
          <p:nvPr userDrawn="1"/>
        </p:nvGrpSpPr>
        <p:grpSpPr>
          <a:xfrm>
            <a:off x="3557952" y="1903552"/>
            <a:ext cx="5076095" cy="1525448"/>
            <a:chOff x="3552089" y="2908054"/>
            <a:chExt cx="5076095" cy="152544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7A972F8-5B63-44F4-9886-926E1735B6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71624" t="-2" r="3652" b="-957"/>
            <a:stretch/>
          </p:blipFill>
          <p:spPr>
            <a:xfrm>
              <a:off x="3552089" y="2908054"/>
              <a:ext cx="5076095" cy="1525448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D104E6E-D4B1-400F-90E2-D3CC1A9608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35165"/>
            <a:stretch/>
          </p:blipFill>
          <p:spPr>
            <a:xfrm>
              <a:off x="3552089" y="3225118"/>
              <a:ext cx="3333750" cy="11023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0951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/>
          <a:srcRect t="35078"/>
          <a:stretch/>
        </p:blipFill>
        <p:spPr>
          <a:xfrm>
            <a:off x="5661185" y="6503282"/>
            <a:ext cx="869633" cy="32990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1610361" y="6419784"/>
            <a:ext cx="37863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5E00FD94-6C85-4C74-ADE7-BA288AC3177A}" type="slidenum">
              <a:rPr lang="tr-TR" sz="1500">
                <a:solidFill>
                  <a:prstClr val="white"/>
                </a:solidFill>
                <a:latin typeface="Candara" panose="020E0502030303020204" pitchFamily="34" charset="0"/>
              </a:rPr>
              <a:pPr/>
              <a:t>‹#›</a:t>
            </a:fld>
            <a:endParaRPr lang="tr-TR" sz="1350" dirty="0">
              <a:solidFill>
                <a:prstClr val="white"/>
              </a:solidFill>
              <a:latin typeface="Candara" panose="020E0502030303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272956" y="204718"/>
            <a:ext cx="887104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500" b="1" dirty="0">
                <a:solidFill>
                  <a:prstClr val="black"/>
                </a:solidFill>
                <a:latin typeface="Candara" panose="020E0502030303020204" pitchFamily="34" charset="0"/>
              </a:rPr>
              <a:t> </a:t>
            </a:r>
            <a:endParaRPr lang="en-US" sz="1500" b="1" dirty="0">
              <a:solidFill>
                <a:prstClr val="black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656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DF386-3080-4E82-BF17-5A15B039D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61BCEB-FCBC-448B-9F23-44A4D65253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170811-BA36-4F66-B95A-15D0AC10E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6F8CF6-9A1D-47B1-9263-A40DBEDA9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F03821-2F53-4ECF-B72C-27F331873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61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C70AC-3686-4C86-B36C-525CACAEB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CE45F3-66EF-4361-A7B9-07B784B259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3CFFA2-CB2C-4B29-8ED6-565B3FC178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C121FD-7741-4722-86B1-EC2478899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4EA8F6-6A95-4988-8259-831BB5C4F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8949DE-AA85-4C95-B674-DCACC106C6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9925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93231C-72B8-426C-9096-B63D5B468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8B996-FEFE-4A70-B52F-2E7448D4EF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6925C2-95DD-47D3-8C53-E7D998A9E3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DBEB5D-2C37-457E-8C19-CEF22222CB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36492F-B4C0-4D4A-B19A-C5F06F5A23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DD3D1FF-B80C-4A34-96E4-ED97809F44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8B26066-8094-4081-B0C1-40CA504B0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1AB2B77-71D0-46C8-AA1D-0BD468C21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96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5DC78-CFB0-40DE-8841-26FBFE336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FD4906-C4AD-44C0-837E-32F461F7BF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4F70A5-EACC-419E-BA8B-B35010E98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0252D6-7B7E-4870-88DA-45664B8EE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552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41FAD36-2EBF-4B1A-A886-BF7533AB26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D0F5CC-D236-4234-B453-D15522300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38E497-CAAB-42AA-B579-216439F98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709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659CD-D171-49CE-86EB-1218A5610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24D95C-30FE-4F40-AB00-74B34C0D49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C3B384-658F-4796-A9A1-B353A9D915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F6DE3F-72FC-4940-81CC-2006B5F5A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96F629-B8D3-41FA-B604-787D0960E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660380-DB28-4D2D-9DBC-E41BD561A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610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81985-6EDE-40B4-A603-FED54F0706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47061F-7D0B-4515-97FA-BB11D856D8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82EDE2-8A8C-4BCE-811F-6019FCE21C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9DFF01-D897-496E-8782-742751EA3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4F56C9-4871-4B9B-A531-C9E6AA3AA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560C5B-BBF2-448D-A120-A40F1D364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717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BB37D7-7868-4F83-A182-63254750C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507F2A-7D05-4C09-B261-17F54073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5CFB2E-7E9D-4588-B15A-42D83FB156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2FCA3A-F333-4BEC-8260-D5B1114BC9C3}" type="datetimeFigureOut">
              <a:rPr lang="en-US" smtClean="0"/>
              <a:t>16-Nov-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3A5A5D-7E45-4EB1-9036-DBDC2DE5CA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06E2B0-FFA0-47F5-B424-3364A6633D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706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51BB6804-4C37-40E9-81B6-F7F2809014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FF96AD3-8041-4518-8746-0F4D1C2C3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989094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DB9BC2C-4F59-490A-8C4C-D2721FEEC2A9}"/>
              </a:ext>
            </a:extLst>
          </p:cNvPr>
          <p:cNvSpPr/>
          <p:nvPr/>
        </p:nvSpPr>
        <p:spPr>
          <a:xfrm>
            <a:off x="3126224" y="2938509"/>
            <a:ext cx="52532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Aft>
                <a:spcPts val="400"/>
              </a:spcAft>
            </a:pPr>
            <a:r>
              <a:rPr lang="en-US" sz="3600" b="1" i="1" dirty="0">
                <a:solidFill>
                  <a:srgbClr val="002D86"/>
                </a:solidFill>
                <a:latin typeface="Candara" panose="020E0502030303020204" pitchFamily="34" charset="0"/>
              </a:rPr>
              <a:t>Parasols 2022</a:t>
            </a:r>
            <a:endParaRPr lang="en-US" sz="3600" b="1" dirty="0">
              <a:solidFill>
                <a:srgbClr val="002D86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2564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BE79D-81C3-4AC8-9D6B-1BF9C11D2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atakhtari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370539-0B46-4012-A467-8B8EC5A3F1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2</a:t>
            </a:fld>
            <a:endParaRPr lang="tr-TR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026F2F-3CC8-4829-B9BB-C2F75A0775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7"/>
          <a:stretch/>
        </p:blipFill>
        <p:spPr>
          <a:xfrm>
            <a:off x="8381804" y="1640262"/>
            <a:ext cx="3200511" cy="399808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AF72AC0-B019-49E2-91E9-769A90A813A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7"/>
          <a:stretch/>
        </p:blipFill>
        <p:spPr>
          <a:xfrm>
            <a:off x="4530935" y="1640263"/>
            <a:ext cx="3200510" cy="3998087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72E7AFFD-E793-41F2-8B8A-8BA4DA38ABF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7"/>
          <a:stretch/>
        </p:blipFill>
        <p:spPr>
          <a:xfrm>
            <a:off x="526767" y="1640263"/>
            <a:ext cx="3200509" cy="399808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433800D-BAE7-4D20-B097-482566E23033}"/>
              </a:ext>
            </a:extLst>
          </p:cNvPr>
          <p:cNvSpPr txBox="1"/>
          <p:nvPr/>
        </p:nvSpPr>
        <p:spPr>
          <a:xfrm>
            <a:off x="526767" y="5746823"/>
            <a:ext cx="2983687" cy="40011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b="1" dirty="0"/>
              <a:t>Umbrella 4x4 - 270</a:t>
            </a:r>
            <a:r>
              <a:rPr lang="ka-GE" sz="2000" b="1" dirty="0"/>
              <a:t> </a:t>
            </a:r>
            <a:r>
              <a:rPr lang="en-US" sz="2000" b="1" dirty="0"/>
              <a:t>pc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E41A2-1C50-4193-ACE4-00412E5D6386}"/>
              </a:ext>
            </a:extLst>
          </p:cNvPr>
          <p:cNvSpPr txBox="1"/>
          <p:nvPr/>
        </p:nvSpPr>
        <p:spPr>
          <a:xfrm>
            <a:off x="4609707" y="5746822"/>
            <a:ext cx="3121738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3m Diameter - 30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050FEEA-6E23-444A-A8C7-28DA205DD824}"/>
              </a:ext>
            </a:extLst>
          </p:cNvPr>
          <p:cNvSpPr txBox="1"/>
          <p:nvPr/>
        </p:nvSpPr>
        <p:spPr>
          <a:xfrm>
            <a:off x="8381803" y="5767170"/>
            <a:ext cx="3200511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1.8 m - 80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</p:spTree>
    <p:extLst>
      <p:ext uri="{BB962C8B-B14F-4D97-AF65-F5344CB8AC3E}">
        <p14:creationId xmlns:p14="http://schemas.microsoft.com/office/powerpoint/2010/main" val="20576085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F9DD2-CF89-4B03-B1FF-4AA0FE90C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asri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CAC67-A59A-410B-AB47-08D6879EFC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3</a:t>
            </a:fld>
            <a:endParaRPr lang="tr-TR" dirty="0"/>
          </a:p>
        </p:txBody>
      </p:sp>
      <p:pic>
        <p:nvPicPr>
          <p:cNvPr id="9" name="Picture 8" descr="Diagram, schematic&#10;&#10;Description automatically generated">
            <a:extLst>
              <a:ext uri="{FF2B5EF4-FFF2-40B4-BE49-F238E27FC236}">
                <a16:creationId xmlns:a16="http://schemas.microsoft.com/office/drawing/2014/main" id="{3D7564FD-3706-48A6-A41F-57E648CCCF0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59"/>
          <a:stretch/>
        </p:blipFill>
        <p:spPr>
          <a:xfrm>
            <a:off x="4313533" y="1018095"/>
            <a:ext cx="3293897" cy="415797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2D976EB-FC45-4D0D-A9C6-485BA2269018}"/>
              </a:ext>
            </a:extLst>
          </p:cNvPr>
          <p:cNvSpPr txBox="1"/>
          <p:nvPr/>
        </p:nvSpPr>
        <p:spPr>
          <a:xfrm>
            <a:off x="4588881" y="5294817"/>
            <a:ext cx="2743200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4x4m - 135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</p:spTree>
    <p:extLst>
      <p:ext uri="{BB962C8B-B14F-4D97-AF65-F5344CB8AC3E}">
        <p14:creationId xmlns:p14="http://schemas.microsoft.com/office/powerpoint/2010/main" val="2643771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7F968-9C35-46AF-B6FF-A9D09D31E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arva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0D8883-7AAC-405A-AFC0-1E306590A3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4</a:t>
            </a:fld>
            <a:endParaRPr lang="tr-TR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65B98F-4733-480F-AF09-196F1C76F82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735"/>
          <a:stretch/>
        </p:blipFill>
        <p:spPr>
          <a:xfrm>
            <a:off x="429027" y="1611984"/>
            <a:ext cx="3747045" cy="467826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A521B8A-52CA-414C-A560-0350978A3CE9}"/>
              </a:ext>
            </a:extLst>
          </p:cNvPr>
          <p:cNvSpPr txBox="1"/>
          <p:nvPr/>
        </p:nvSpPr>
        <p:spPr>
          <a:xfrm>
            <a:off x="5280304" y="4959870"/>
            <a:ext cx="1696831" cy="83099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4x4 - 100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10D19C94-FBE2-4AE4-A9EF-E2B087D48F4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20633" r="-1095"/>
          <a:stretch/>
        </p:blipFill>
        <p:spPr>
          <a:xfrm>
            <a:off x="6128720" y="950463"/>
            <a:ext cx="4439478" cy="2613991"/>
          </a:xfrm>
          <a:prstGeom prst="rect">
            <a:avLst/>
          </a:prstGeom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007B2B4F-29D2-4D83-A782-495C3FEA1FA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77" t="2625" r="12754"/>
          <a:stretch/>
        </p:blipFill>
        <p:spPr>
          <a:xfrm>
            <a:off x="8758742" y="3686917"/>
            <a:ext cx="2605120" cy="2684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4340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2ADC3-180E-485A-BC31-7C33238D8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aropramen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E7D367-E3D0-44A7-8DDB-3D445FE1CB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5</a:t>
            </a:fld>
            <a:endParaRPr lang="tr-TR" dirty="0"/>
          </a:p>
        </p:txBody>
      </p:sp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CD52938E-49BB-403C-B287-8387E3B76F1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51"/>
          <a:stretch/>
        </p:blipFill>
        <p:spPr>
          <a:xfrm>
            <a:off x="3558729" y="1621410"/>
            <a:ext cx="3332266" cy="416436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37381A2-6E4D-4F8C-933C-DA8B26F988F6}"/>
              </a:ext>
            </a:extLst>
          </p:cNvPr>
          <p:cNvSpPr txBox="1"/>
          <p:nvPr/>
        </p:nvSpPr>
        <p:spPr>
          <a:xfrm>
            <a:off x="7867362" y="3783337"/>
            <a:ext cx="2379574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4x4 - 65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</p:spTree>
    <p:extLst>
      <p:ext uri="{BB962C8B-B14F-4D97-AF65-F5344CB8AC3E}">
        <p14:creationId xmlns:p14="http://schemas.microsoft.com/office/powerpoint/2010/main" val="3223094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F9DD2-CF89-4B03-B1FF-4AA0FE90C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61146"/>
            <a:ext cx="11520000" cy="648000"/>
          </a:xfrm>
        </p:spPr>
        <p:txBody>
          <a:bodyPr>
            <a:normAutofit fontScale="90000"/>
          </a:bodyPr>
          <a:lstStyle/>
          <a:p>
            <a:r>
              <a:rPr lang="en-US" dirty="0"/>
              <a:t>EFES, Stella Artois</a:t>
            </a:r>
            <a:br>
              <a:rPr lang="en-US" dirty="0"/>
            </a:b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CAC67-A59A-410B-AB47-08D6879EFC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6</a:t>
            </a:fld>
            <a:endParaRPr lang="tr-TR" dirty="0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1CA6B7A2-2DA9-4005-9AB2-4A671213B5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31"/>
          <a:stretch/>
        </p:blipFill>
        <p:spPr>
          <a:xfrm>
            <a:off x="841398" y="1049119"/>
            <a:ext cx="3455456" cy="43388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583D624-DA40-4AE5-9EED-DC832F52B7AB}"/>
              </a:ext>
            </a:extLst>
          </p:cNvPr>
          <p:cNvSpPr txBox="1"/>
          <p:nvPr/>
        </p:nvSpPr>
        <p:spPr>
          <a:xfrm>
            <a:off x="1098098" y="5627925"/>
            <a:ext cx="2382865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EFES 4x4 - 25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  <p:pic>
        <p:nvPicPr>
          <p:cNvPr id="6146" name="Picture 2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CF246D3D-A596-4C5F-A1A4-0C59C0918B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92"/>
          <a:stretch/>
        </p:blipFill>
        <p:spPr bwMode="auto">
          <a:xfrm>
            <a:off x="5943600" y="1049120"/>
            <a:ext cx="3723903" cy="4338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678747B-DA8D-4700-9DF8-E5810B539504}"/>
              </a:ext>
            </a:extLst>
          </p:cNvPr>
          <p:cNvSpPr txBox="1"/>
          <p:nvPr/>
        </p:nvSpPr>
        <p:spPr>
          <a:xfrm>
            <a:off x="6020180" y="5578047"/>
            <a:ext cx="3570742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Stella Artois 4x4 - 15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</p:spTree>
    <p:extLst>
      <p:ext uri="{BB962C8B-B14F-4D97-AF65-F5344CB8AC3E}">
        <p14:creationId xmlns:p14="http://schemas.microsoft.com/office/powerpoint/2010/main" val="28603365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F9DD2-CF89-4B03-B1FF-4AA0FE90C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wenbrau, </a:t>
            </a:r>
            <a:r>
              <a:rPr lang="en-US" dirty="0" err="1"/>
              <a:t>Leffe</a:t>
            </a:r>
            <a:r>
              <a:rPr lang="en-US" dirty="0"/>
              <a:t>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CAC67-A59A-410B-AB47-08D6879EFC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7</a:t>
            </a:fld>
            <a:endParaRPr lang="tr-TR" dirty="0"/>
          </a:p>
        </p:txBody>
      </p:sp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50279DCD-0A46-4E8C-A4B9-E32B0D966EA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40"/>
          <a:stretch/>
        </p:blipFill>
        <p:spPr>
          <a:xfrm>
            <a:off x="1488519" y="990632"/>
            <a:ext cx="3344916" cy="420435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8666DC9-C6B0-41B1-B027-1E9269F7838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40"/>
          <a:stretch/>
        </p:blipFill>
        <p:spPr>
          <a:xfrm>
            <a:off x="6700360" y="977511"/>
            <a:ext cx="3344916" cy="420435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E3C1F45-E28A-4E4D-8BD5-C6330BF69A70}"/>
              </a:ext>
            </a:extLst>
          </p:cNvPr>
          <p:cNvSpPr txBox="1"/>
          <p:nvPr/>
        </p:nvSpPr>
        <p:spPr>
          <a:xfrm>
            <a:off x="1834793" y="5428452"/>
            <a:ext cx="2652367" cy="83099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Lowenbrau 4x4 -  60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09030C-DFE1-49BD-BB59-377D60770366}"/>
              </a:ext>
            </a:extLst>
          </p:cNvPr>
          <p:cNvSpPr txBox="1"/>
          <p:nvPr/>
        </p:nvSpPr>
        <p:spPr>
          <a:xfrm>
            <a:off x="7307805" y="5418824"/>
            <a:ext cx="2652367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 err="1"/>
              <a:t>Leffe</a:t>
            </a:r>
            <a:r>
              <a:rPr lang="en-US" sz="2400" b="1" dirty="0"/>
              <a:t> 4x4 - 21</a:t>
            </a:r>
            <a:r>
              <a:rPr lang="ka-GE" sz="2400" b="1" dirty="0"/>
              <a:t> </a:t>
            </a:r>
            <a:r>
              <a:rPr lang="en-US" sz="2400" b="1" dirty="0"/>
              <a:t>pc</a:t>
            </a:r>
          </a:p>
        </p:txBody>
      </p:sp>
    </p:spTree>
    <p:extLst>
      <p:ext uri="{BB962C8B-B14F-4D97-AF65-F5344CB8AC3E}">
        <p14:creationId xmlns:p14="http://schemas.microsoft.com/office/powerpoint/2010/main" val="21279816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91022E-3447-4D0A-BC41-BCBF49398F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8</a:t>
            </a:fld>
            <a:endParaRPr lang="tr-TR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E998976-D209-4354-BA77-A7CA5230685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90"/>
          <a:stretch/>
        </p:blipFill>
        <p:spPr>
          <a:xfrm>
            <a:off x="7075065" y="920949"/>
            <a:ext cx="3493133" cy="4437567"/>
          </a:xfrm>
          <a:prstGeom prst="rect">
            <a:avLst/>
          </a:prstGeom>
        </p:spPr>
      </p:pic>
      <p:pic>
        <p:nvPicPr>
          <p:cNvPr id="7" name="Picture 6" descr="A picture containing chart&#10;&#10;Description automatically generated">
            <a:extLst>
              <a:ext uri="{FF2B5EF4-FFF2-40B4-BE49-F238E27FC236}">
                <a16:creationId xmlns:a16="http://schemas.microsoft.com/office/drawing/2014/main" id="{D2B7498A-75E2-49A6-A984-2DC0CACC04F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26"/>
          <a:stretch/>
        </p:blipFill>
        <p:spPr>
          <a:xfrm>
            <a:off x="1078785" y="948201"/>
            <a:ext cx="3493134" cy="4371578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D64EEB9F-93DD-4168-BCCA-4AB6B6E82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ona, Hoegaarden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6ACC1C-654B-4DB8-ADF4-34E57F64406C}"/>
              </a:ext>
            </a:extLst>
          </p:cNvPr>
          <p:cNvSpPr txBox="1"/>
          <p:nvPr/>
        </p:nvSpPr>
        <p:spPr>
          <a:xfrm>
            <a:off x="1335046" y="5439980"/>
            <a:ext cx="2980611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Corona 4x4 - 20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CAF275-CBBC-439F-832C-4C12AEC40E97}"/>
              </a:ext>
            </a:extLst>
          </p:cNvPr>
          <p:cNvSpPr txBox="1"/>
          <p:nvPr/>
        </p:nvSpPr>
        <p:spPr>
          <a:xfrm>
            <a:off x="7075066" y="5521552"/>
            <a:ext cx="3124736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Hoegaarden 4x4 - 4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</p:spTree>
    <p:extLst>
      <p:ext uri="{BB962C8B-B14F-4D97-AF65-F5344CB8AC3E}">
        <p14:creationId xmlns:p14="http://schemas.microsoft.com/office/powerpoint/2010/main" val="38144578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14</TotalTime>
  <Words>82</Words>
  <Application>Microsoft Office PowerPoint</Application>
  <PresentationFormat>Widescreen</PresentationFormat>
  <Paragraphs>27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Calibri</vt:lpstr>
      <vt:lpstr>Calibri Light</vt:lpstr>
      <vt:lpstr>Candara</vt:lpstr>
      <vt:lpstr>Sylfaen</vt:lpstr>
      <vt:lpstr>Times New Roman</vt:lpstr>
      <vt:lpstr>Office Theme</vt:lpstr>
      <vt:lpstr>1_Office Theme</vt:lpstr>
      <vt:lpstr>think-cell Slide</vt:lpstr>
      <vt:lpstr>PowerPoint Presentation</vt:lpstr>
      <vt:lpstr>Natakhtari</vt:lpstr>
      <vt:lpstr>Kasris</vt:lpstr>
      <vt:lpstr>Karva</vt:lpstr>
      <vt:lpstr>Staropramen</vt:lpstr>
      <vt:lpstr>EFES, Stella Artois </vt:lpstr>
      <vt:lpstr>Lowenbrau, Leffe </vt:lpstr>
      <vt:lpstr>Corona, Hoegaarde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A OLGESASHVILI</dc:creator>
  <cp:lastModifiedBy>TEKLA NOZADZE</cp:lastModifiedBy>
  <cp:revision>20</cp:revision>
  <dcterms:created xsi:type="dcterms:W3CDTF">2021-03-04T12:12:30Z</dcterms:created>
  <dcterms:modified xsi:type="dcterms:W3CDTF">2021-11-16T14:06:31Z</dcterms:modified>
</cp:coreProperties>
</file>